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29.xml" ContentType="application/vnd.openxmlformats-officedocument.presentationml.tags+xml"/>
  <Override PartName="/ppt/tags/tag38.xml" ContentType="application/vnd.openxmlformats-officedocument.presentationml.tags+xml"/>
  <Override PartName="/ppt/tags/tag47.xml" ContentType="application/vnd.openxmlformats-officedocument.presentationml.tags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tags/tag36.xml" ContentType="application/vnd.openxmlformats-officedocument.presentationml.tags+xml"/>
  <Override PartName="/ppt/tags/tag45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tags/tag43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docProps/core.xml" ContentType="application/vnd.openxmlformats-package.core-properties+xml"/>
  <Override PartName="/ppt/slides/slide5.xml" ContentType="application/vnd.openxmlformats-officedocument.presentationml.slide+xml"/>
  <Default Extension="png" ContentType="image/png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tags/tag39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Default Extension="gif" ContentType="image/gif"/>
  <Override PartName="/ppt/tags/tag44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6"/>
  </p:notesMasterIdLst>
  <p:sldIdLst>
    <p:sldId id="311" r:id="rId2"/>
    <p:sldId id="419" r:id="rId3"/>
    <p:sldId id="420" r:id="rId4"/>
    <p:sldId id="421" r:id="rId5"/>
    <p:sldId id="422" r:id="rId6"/>
    <p:sldId id="423" r:id="rId7"/>
    <p:sldId id="424" r:id="rId8"/>
    <p:sldId id="425" r:id="rId9"/>
    <p:sldId id="426" r:id="rId10"/>
    <p:sldId id="427" r:id="rId11"/>
    <p:sldId id="428" r:id="rId12"/>
    <p:sldId id="429" r:id="rId13"/>
    <p:sldId id="430" r:id="rId14"/>
    <p:sldId id="314" r:id="rId15"/>
  </p:sldIdLst>
  <p:sldSz cx="9144000" cy="5143500" type="screen16x9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 vertBarState="maximized">
    <p:restoredLeft sz="12017" autoAdjust="0"/>
    <p:restoredTop sz="97356" autoAdjust="0"/>
  </p:normalViewPr>
  <p:slideViewPr>
    <p:cSldViewPr>
      <p:cViewPr varScale="1">
        <p:scale>
          <a:sx n="146" d="100"/>
          <a:sy n="146" d="100"/>
        </p:scale>
        <p:origin x="-540" y="-90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737D260-6268-4F26-AF15-ED356AF90945}" type="datetimeFigureOut">
              <a:rPr lang="en-US" smtClean="0"/>
              <a:pPr/>
              <a:t>10/4/2022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5494CF-C817-48EC-B3D8-4344773BA92C}" type="slidenum">
              <a:rPr lang="en-US" smtClean="0"/>
              <a:pPr/>
              <a:t>‹Nr.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4.jpe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3.jpeg"/><Relationship Id="rId2" Type="http://schemas.openxmlformats.org/officeDocument/2006/relationships/tags" Target="../tags/tag2.xml"/><Relationship Id="rId16" Type="http://schemas.openxmlformats.org/officeDocument/2006/relationships/image" Target="../media/image1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2.jpeg"/><Relationship Id="rId5" Type="http://schemas.openxmlformats.org/officeDocument/2006/relationships/tags" Target="../tags/tag5.xml"/><Relationship Id="rId15" Type="http://schemas.openxmlformats.org/officeDocument/2006/relationships/image" Target="../media/image6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image" Target="../media/image9.jpeg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image" Target="../media/image8.jpe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image" Target="../media/image7.jpeg"/><Relationship Id="rId5" Type="http://schemas.openxmlformats.org/officeDocument/2006/relationships/tags" Target="../tags/tag14.xml"/><Relationship Id="rId15" Type="http://schemas.openxmlformats.org/officeDocument/2006/relationships/image" Target="../media/image11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4" Type="http://schemas.openxmlformats.org/officeDocument/2006/relationships/image" Target="../media/image10.jpe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image" Target="../media/image3.jpeg"/><Relationship Id="rId18" Type="http://schemas.openxmlformats.org/officeDocument/2006/relationships/image" Target="../media/image12.jpeg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image" Target="../media/image2.jpeg"/><Relationship Id="rId17" Type="http://schemas.openxmlformats.org/officeDocument/2006/relationships/image" Target="../media/image1.png"/><Relationship Id="rId2" Type="http://schemas.openxmlformats.org/officeDocument/2006/relationships/tags" Target="../tags/tag20.xml"/><Relationship Id="rId16" Type="http://schemas.openxmlformats.org/officeDocument/2006/relationships/image" Target="../media/image6.jpeg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15" Type="http://schemas.openxmlformats.org/officeDocument/2006/relationships/image" Target="../media/image5.jpeg"/><Relationship Id="rId10" Type="http://schemas.openxmlformats.org/officeDocument/2006/relationships/tags" Target="../tags/tag28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image" Target="../media/image4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8" name="Gruppieren 27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10244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7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10242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3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23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26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1347614"/>
            <a:ext cx="7772400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 userDrawn="1">
            <p:ph type="subTitle" idx="1"/>
          </p:nvPr>
        </p:nvSpPr>
        <p:spPr>
          <a:xfrm>
            <a:off x="1371600" y="2355726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13" name="Textfeld 12"/>
          <p:cNvSpPr txBox="1"/>
          <p:nvPr userDrawn="1"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4" name="Freihandform 13"/>
          <p:cNvSpPr/>
          <p:nvPr userDrawn="1"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 userDrawn="1"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 userDrawn="1"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Parallelogramm 16"/>
          <p:cNvSpPr/>
          <p:nvPr userDrawn="1"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Parallelogramm 17"/>
          <p:cNvSpPr/>
          <p:nvPr userDrawn="1"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Freihandform 18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Freihandform 19"/>
          <p:cNvSpPr/>
          <p:nvPr userDrawn="1"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Rechteck 20"/>
          <p:cNvSpPr/>
          <p:nvPr userDrawn="1">
            <p:custDataLst>
              <p:tags r:id="rId9"/>
            </p:custDataLst>
          </p:nvPr>
        </p:nvSpPr>
        <p:spPr>
          <a:xfrm>
            <a:off x="795" y="648469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Rectangle 3"/>
          <p:cNvSpPr txBox="1">
            <a:spLocks noChangeArrowheads="1"/>
          </p:cNvSpPr>
          <p:nvPr userDrawn="1"/>
        </p:nvSpPr>
        <p:spPr bwMode="auto">
          <a:xfrm>
            <a:off x="845840" y="4240838"/>
            <a:ext cx="7452320" cy="85119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 algn="ctr">
              <a:spcBef>
                <a:spcPct val="20000"/>
              </a:spcBef>
              <a:defRPr/>
            </a:pPr>
            <a:r>
              <a:rPr lang="en-US" sz="1400" b="1" kern="0" dirty="0" smtClean="0">
                <a:latin typeface="+mn-lt"/>
              </a:rPr>
              <a:t>Prof. Dr</a:t>
            </a: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iorg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helidze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Prof. Dr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lkhaz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hashiashvil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&amp;</a:t>
            </a:r>
          </a:p>
          <a:p>
            <a:pPr lvl="0" algn="ctr">
              <a:spcBef>
                <a:spcPct val="20000"/>
              </a:spcBef>
              <a:defRPr/>
            </a:pP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f. Dr. Dr. </a:t>
            </a:r>
            <a:r>
              <a:rPr lang="en-US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.c</a:t>
            </a: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Florian Rupp</a:t>
            </a:r>
            <a:endParaRPr lang="en-US" sz="1400" b="1" kern="0" noProof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500" dirty="0" smtClean="0"/>
          </a:p>
          <a:p>
            <a:pPr algn="ctr" eaLnBrk="1" hangingPunct="1"/>
            <a:r>
              <a:rPr lang="en-US" sz="1400" dirty="0" smtClean="0"/>
              <a:t>Kutaisi International</a:t>
            </a:r>
            <a:r>
              <a:rPr lang="en-US" sz="1400" baseline="0" dirty="0" smtClean="0"/>
              <a:t> University</a:t>
            </a:r>
            <a:endParaRPr lang="en-US" sz="1400" dirty="0" smtClean="0"/>
          </a:p>
        </p:txBody>
      </p:sp>
      <p:pic>
        <p:nvPicPr>
          <p:cNvPr id="24" name="Grafik 23" descr="index.png"/>
          <p:cNvPicPr>
            <a:picLocks noChangeAspect="1"/>
          </p:cNvPicPr>
          <p:nvPr userDrawn="1"/>
        </p:nvPicPr>
        <p:blipFill>
          <a:blip r:embed="rId16" cstate="print"/>
          <a:stretch>
            <a:fillRect/>
          </a:stretch>
        </p:blipFill>
        <p:spPr>
          <a:xfrm>
            <a:off x="179513" y="4437868"/>
            <a:ext cx="1872207" cy="58215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hteck 19"/>
          <p:cNvSpPr/>
          <p:nvPr userDrawn="1"/>
        </p:nvSpPr>
        <p:spPr>
          <a:xfrm>
            <a:off x="6084168" y="0"/>
            <a:ext cx="3059832" cy="810000"/>
          </a:xfrm>
          <a:prstGeom prst="rect">
            <a:avLst/>
          </a:pr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1"/>
            </p:custDataLst>
          </p:nvPr>
        </p:nvSpPr>
        <p:spPr>
          <a:xfrm>
            <a:off x="560" y="456093"/>
            <a:ext cx="9143440" cy="354739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43" name="Gruppieren 42"/>
          <p:cNvGrpSpPr/>
          <p:nvPr userDrawn="1"/>
        </p:nvGrpSpPr>
        <p:grpSpPr>
          <a:xfrm>
            <a:off x="0" y="0"/>
            <a:ext cx="6444207" cy="811112"/>
            <a:chOff x="0" y="0"/>
            <a:chExt cx="9156701" cy="1152525"/>
          </a:xfrm>
        </p:grpSpPr>
        <p:pic>
          <p:nvPicPr>
            <p:cNvPr id="28" name="Picture 8" descr="https://cdn.pixabay.com/photo/2016/04/13/19/23/binary-1327501_960_720.jpg"/>
            <p:cNvPicPr>
              <a:picLocks noChangeAspect="1" noChangeArrowheads="1"/>
            </p:cNvPicPr>
            <p:nvPr userDrawn="1"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395536" y="0"/>
              <a:ext cx="2828754" cy="1152128"/>
            </a:xfrm>
            <a:prstGeom prst="rect">
              <a:avLst/>
            </a:prstGeom>
            <a:noFill/>
          </p:spPr>
        </p:pic>
        <p:grpSp>
          <p:nvGrpSpPr>
            <p:cNvPr id="29" name="Gruppieren 28"/>
            <p:cNvGrpSpPr/>
            <p:nvPr userDrawn="1"/>
          </p:nvGrpSpPr>
          <p:grpSpPr>
            <a:xfrm>
              <a:off x="3059832" y="0"/>
              <a:ext cx="3312368" cy="1152525"/>
              <a:chOff x="3059832" y="0"/>
              <a:chExt cx="3312368" cy="1152525"/>
            </a:xfrm>
          </p:grpSpPr>
          <p:pic>
            <p:nvPicPr>
              <p:cNvPr id="30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  <p:cNvPicPr>
                <a:picLocks noChangeAspect="1" noChangeArrowheads="1"/>
              </p:cNvPicPr>
              <p:nvPr userDrawn="1"/>
            </p:nvPicPr>
            <p:blipFill>
              <a:blip r:embed="rId12" cstate="print"/>
              <a:srcRect/>
              <a:stretch>
                <a:fillRect/>
              </a:stretch>
            </p:blipFill>
            <p:spPr bwMode="auto">
              <a:xfrm>
                <a:off x="3059832" y="0"/>
                <a:ext cx="1728192" cy="1152128"/>
              </a:xfrm>
              <a:prstGeom prst="rect">
                <a:avLst/>
              </a:prstGeom>
              <a:noFill/>
            </p:spPr>
          </p:pic>
          <p:grpSp>
            <p:nvGrpSpPr>
              <p:cNvPr id="31" name="Gruppieren 26"/>
              <p:cNvGrpSpPr/>
              <p:nvPr userDrawn="1"/>
            </p:nvGrpSpPr>
            <p:grpSpPr>
              <a:xfrm>
                <a:off x="4427984" y="0"/>
                <a:ext cx="1944216" cy="1152525"/>
                <a:chOff x="4427984" y="0"/>
                <a:chExt cx="1944216" cy="1152525"/>
              </a:xfrm>
            </p:grpSpPr>
            <p:pic>
              <p:nvPicPr>
                <p:cNvPr id="32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3" cstate="print"/>
                <a:srcRect/>
                <a:stretch>
                  <a:fillRect/>
                </a:stretch>
              </p:blipFill>
              <p:spPr bwMode="auto">
                <a:xfrm>
                  <a:off x="4427984" y="0"/>
                  <a:ext cx="1944216" cy="267494"/>
                </a:xfrm>
                <a:prstGeom prst="rect">
                  <a:avLst/>
                </a:prstGeom>
                <a:noFill/>
              </p:spPr>
            </p:pic>
            <p:pic>
              <p:nvPicPr>
                <p:cNvPr id="33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4" cstate="print"/>
                <a:srcRect/>
                <a:stretch>
                  <a:fillRect/>
                </a:stretch>
              </p:blipFill>
              <p:spPr bwMode="auto">
                <a:xfrm>
                  <a:off x="4572000" y="267494"/>
                  <a:ext cx="1656184" cy="432048"/>
                </a:xfrm>
                <a:prstGeom prst="rect">
                  <a:avLst/>
                </a:prstGeom>
                <a:noFill/>
              </p:spPr>
            </p:pic>
            <p:pic>
              <p:nvPicPr>
                <p:cNvPr id="34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5" cstate="print"/>
                <a:srcRect/>
                <a:stretch>
                  <a:fillRect/>
                </a:stretch>
              </p:blipFill>
              <p:spPr bwMode="auto">
                <a:xfrm>
                  <a:off x="4716016" y="689073"/>
                  <a:ext cx="1368152" cy="463452"/>
                </a:xfrm>
                <a:prstGeom prst="rect">
                  <a:avLst/>
                </a:prstGeom>
                <a:noFill/>
              </p:spPr>
            </p:pic>
          </p:grpSp>
        </p:grpSp>
        <p:sp>
          <p:nvSpPr>
            <p:cNvPr id="35" name="Freihandform 34"/>
            <p:cNvSpPr/>
            <p:nvPr userDrawn="1">
              <p:custDataLst>
                <p:tags r:id="rId2"/>
              </p:custDataLst>
            </p:nvPr>
          </p:nvSpPr>
          <p:spPr>
            <a:xfrm flipH="1">
              <a:off x="6024860" y="447"/>
              <a:ext cx="313184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1955800"/>
                <a:gd name="connsiteY0" fmla="*/ 0 h 1143000"/>
                <a:gd name="connsiteX1" fmla="*/ 1641023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641023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Parallelogramm 35"/>
            <p:cNvSpPr/>
            <p:nvPr userDrawn="1">
              <p:custDataLst>
                <p:tags r:id="rId3"/>
              </p:custDataLst>
            </p:nvPr>
          </p:nvSpPr>
          <p:spPr>
            <a:xfrm>
              <a:off x="5808836" y="1"/>
              <a:ext cx="792088" cy="1152128"/>
            </a:xfrm>
            <a:prstGeom prst="parallelogram">
              <a:avLst>
                <a:gd name="adj" fmla="val 63481"/>
              </a:avLst>
            </a:pr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Parallelogramm 36"/>
            <p:cNvSpPr/>
            <p:nvPr userDrawn="1">
              <p:custDataLst>
                <p:tags r:id="rId4"/>
              </p:custDataLst>
            </p:nvPr>
          </p:nvSpPr>
          <p:spPr>
            <a:xfrm>
              <a:off x="2568476" y="1"/>
              <a:ext cx="1152128" cy="1152128"/>
            </a:xfrm>
            <a:prstGeom prst="parallelogram">
              <a:avLst>
                <a:gd name="adj" fmla="val 52628"/>
              </a:avLst>
            </a:prstGeom>
            <a:solidFill>
              <a:srgbClr val="1F497D">
                <a:lumMod val="60000"/>
                <a:lumOff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Parallelogramm 37"/>
            <p:cNvSpPr/>
            <p:nvPr userDrawn="1">
              <p:custDataLst>
                <p:tags r:id="rId5"/>
              </p:custDataLst>
            </p:nvPr>
          </p:nvSpPr>
          <p:spPr>
            <a:xfrm flipH="1">
              <a:off x="4296668" y="1"/>
              <a:ext cx="648072" cy="1152128"/>
            </a:xfrm>
            <a:prstGeom prst="parallelogram">
              <a:avLst>
                <a:gd name="adj" fmla="val 68305"/>
              </a:avLst>
            </a:prstGeom>
            <a:solidFill>
              <a:srgbClr val="F79646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Parallelogramm 38"/>
            <p:cNvSpPr/>
            <p:nvPr userDrawn="1">
              <p:custDataLst>
                <p:tags r:id="rId6"/>
              </p:custDataLst>
            </p:nvPr>
          </p:nvSpPr>
          <p:spPr>
            <a:xfrm>
              <a:off x="2568476" y="1"/>
              <a:ext cx="1008112" cy="1152128"/>
            </a:xfrm>
            <a:prstGeom prst="parallelogram">
              <a:avLst>
                <a:gd name="adj" fmla="val 88390"/>
              </a:avLst>
            </a:prstGeom>
            <a:solidFill>
              <a:srgbClr val="4F81BD">
                <a:lumMod val="20000"/>
                <a:lumOff val="8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Freihandform 39"/>
            <p:cNvSpPr/>
            <p:nvPr userDrawn="1">
              <p:custDataLst>
                <p:tags r:id="rId7"/>
              </p:custDataLst>
            </p:nvPr>
          </p:nvSpPr>
          <p:spPr>
            <a:xfrm>
              <a:off x="0" y="0"/>
              <a:ext cx="195580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485900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ihandform 40"/>
            <p:cNvSpPr/>
            <p:nvPr userDrawn="1">
              <p:custDataLst>
                <p:tags r:id="rId8"/>
              </p:custDataLst>
            </p:nvPr>
          </p:nvSpPr>
          <p:spPr>
            <a:xfrm>
              <a:off x="2580060" y="1"/>
              <a:ext cx="92452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0 w 2880320"/>
                <a:gd name="connsiteY4" fmla="*/ 0 h 1143000"/>
                <a:gd name="connsiteX0" fmla="*/ 216024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2160240 w 28803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132432 w 924520"/>
                <a:gd name="connsiteY3" fmla="*/ 643436 h 1143000"/>
                <a:gd name="connsiteX4" fmla="*/ 204440 w 9245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204440 w 924520"/>
                <a:gd name="connsiteY4" fmla="*/ 0 h 1143000"/>
                <a:gd name="connsiteX0" fmla="*/ 348456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348456 w 924520"/>
                <a:gd name="connsiteY4" fmla="*/ 0 h 1143000"/>
                <a:gd name="connsiteX0" fmla="*/ 348456 w 924520"/>
                <a:gd name="connsiteY0" fmla="*/ 571943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0" fmla="*/ 420464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420464 w 924520"/>
                <a:gd name="connsiteY3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4520" h="1143000">
                  <a:moveTo>
                    <a:pt x="420464" y="0"/>
                  </a:moveTo>
                  <a:lnTo>
                    <a:pt x="924520" y="0"/>
                  </a:lnTo>
                  <a:lnTo>
                    <a:pt x="0" y="1143000"/>
                  </a:lnTo>
                  <a:lnTo>
                    <a:pt x="420464" y="0"/>
                  </a:lnTo>
                  <a:close/>
                </a:path>
              </a:pathLst>
            </a:cu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Rechteck 41"/>
            <p:cNvSpPr/>
            <p:nvPr userDrawn="1">
              <p:custDataLst>
                <p:tags r:id="rId9"/>
              </p:custDataLst>
            </p:nvPr>
          </p:nvSpPr>
          <p:spPr>
            <a:xfrm>
              <a:off x="795" y="648072"/>
              <a:ext cx="9155906" cy="504056"/>
            </a:xfrm>
            <a:prstGeom prst="rect">
              <a:avLst/>
            </a:prstGeom>
            <a:solidFill>
              <a:srgbClr val="FFFFFF">
                <a:alpha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1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6" name="Gruppieren 25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27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8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29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30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31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6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4" name="Rechteck 23"/>
          <p:cNvSpPr/>
          <p:nvPr userDrawn="1"/>
        </p:nvSpPr>
        <p:spPr>
          <a:xfrm>
            <a:off x="179512" y="1275606"/>
            <a:ext cx="3240360" cy="37444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feld 10"/>
          <p:cNvSpPr txBox="1"/>
          <p:nvPr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2" name="Freihandform 11"/>
          <p:cNvSpPr/>
          <p:nvPr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Parallelogramm 12"/>
          <p:cNvSpPr/>
          <p:nvPr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Parallelogramm 13"/>
          <p:cNvSpPr/>
          <p:nvPr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Freihandform 16"/>
          <p:cNvSpPr/>
          <p:nvPr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Freihandform 17"/>
          <p:cNvSpPr/>
          <p:nvPr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9"/>
            </p:custDataLst>
          </p:nvPr>
        </p:nvSpPr>
        <p:spPr>
          <a:xfrm>
            <a:off x="795" y="648072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itel 1"/>
          <p:cNvSpPr>
            <a:spLocks noGrp="1"/>
          </p:cNvSpPr>
          <p:nvPr userDrawn="1">
            <p:ph type="ctrTitle"/>
          </p:nvPr>
        </p:nvSpPr>
        <p:spPr>
          <a:xfrm>
            <a:off x="3851920" y="1275606"/>
            <a:ext cx="5112568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23" name="Rectangle 5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4752020" y="4299942"/>
            <a:ext cx="3240360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ctr">
              <a:spcBef>
                <a:spcPct val="20000"/>
              </a:spcBef>
            </a:pPr>
            <a:endParaRPr lang="en-US" sz="1400" dirty="0" smtClean="0"/>
          </a:p>
        </p:txBody>
      </p:sp>
      <p:sp>
        <p:nvSpPr>
          <p:cNvPr id="25" name="Textfeld 24"/>
          <p:cNvSpPr txBox="1"/>
          <p:nvPr userDrawn="1"/>
        </p:nvSpPr>
        <p:spPr>
          <a:xfrm>
            <a:off x="3851920" y="2355726"/>
            <a:ext cx="504056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 smtClean="0"/>
              <a:t>Questions &amp; Remarks?</a:t>
            </a:r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r>
              <a:rPr lang="en-US" sz="2000" dirty="0" smtClean="0"/>
              <a:t>Thank You Very Much</a:t>
            </a:r>
            <a:endParaRPr lang="en-US" sz="2000" dirty="0"/>
          </a:p>
        </p:txBody>
      </p:sp>
      <p:pic>
        <p:nvPicPr>
          <p:cNvPr id="22" name="Grafik 21" descr="index.png"/>
          <p:cNvPicPr>
            <a:picLocks noChangeAspect="1"/>
          </p:cNvPicPr>
          <p:nvPr userDrawn="1"/>
        </p:nvPicPr>
        <p:blipFill>
          <a:blip r:embed="rId17" cstate="print"/>
          <a:stretch>
            <a:fillRect/>
          </a:stretch>
        </p:blipFill>
        <p:spPr>
          <a:xfrm>
            <a:off x="3798963" y="4578133"/>
            <a:ext cx="1421109" cy="441887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179512" y="1678889"/>
            <a:ext cx="3240360" cy="293785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invGray">
          <a:xfrm>
            <a:off x="0" y="1"/>
            <a:ext cx="9144000" cy="81502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 prst="coolSlant"/>
          </a:sp3d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9" name="Abgerundetes Rechteck 8"/>
          <p:cNvSpPr/>
          <p:nvPr userDrawn="1"/>
        </p:nvSpPr>
        <p:spPr>
          <a:xfrm>
            <a:off x="118693" y="105507"/>
            <a:ext cx="667317" cy="598738"/>
          </a:xfrm>
          <a:prstGeom prst="roundRect">
            <a:avLst>
              <a:gd name="adj" fmla="val 917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2"/>
          <p:cNvSpPr>
            <a:spLocks noGrp="1" noChangeArrowheads="1"/>
          </p:cNvSpPr>
          <p:nvPr userDrawn="1"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  <p:pic>
        <p:nvPicPr>
          <p:cNvPr id="12" name="Grafik 11" descr="index.png"/>
          <p:cNvPicPr>
            <a:picLocks noChangeAspect="1"/>
          </p:cNvPicPr>
          <p:nvPr userDrawn="1"/>
        </p:nvPicPr>
        <p:blipFill>
          <a:blip r:embed="rId6" cstate="print"/>
          <a:srcRect r="69566"/>
          <a:stretch>
            <a:fillRect/>
          </a:stretch>
        </p:blipFill>
        <p:spPr>
          <a:xfrm>
            <a:off x="166812" y="110777"/>
            <a:ext cx="576064" cy="58856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55" r:id="rId3"/>
    <p:sldLayoutId id="2147483656" r:id="rId4"/>
  </p:sldLayoutIdLst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gi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1.xml"/><Relationship Id="rId5" Type="http://schemas.openxmlformats.org/officeDocument/2006/relationships/image" Target="../media/image29.png"/><Relationship Id="rId4" Type="http://schemas.openxmlformats.org/officeDocument/2006/relationships/image" Target="../media/image28.gif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tags" Target="../tags/tag44.xml"/><Relationship Id="rId7" Type="http://schemas.openxmlformats.org/officeDocument/2006/relationships/image" Target="../media/image31.png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image" Target="../media/image30.png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6.xml"/><Relationship Id="rId4" Type="http://schemas.openxmlformats.org/officeDocument/2006/relationships/image" Target="../media/image34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7.xml"/><Relationship Id="rId4" Type="http://schemas.openxmlformats.org/officeDocument/2006/relationships/image" Target="../media/image34.jpe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0.xml"/><Relationship Id="rId4" Type="http://schemas.openxmlformats.org/officeDocument/2006/relationships/image" Target="../media/image1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9.png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7" Type="http://schemas.openxmlformats.org/officeDocument/2006/relationships/image" Target="../media/image22.png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5" Type="http://schemas.openxmlformats.org/officeDocument/2006/relationships/image" Target="../media/image22.png"/><Relationship Id="rId4" Type="http://schemas.openxmlformats.org/officeDocument/2006/relationships/image" Target="../media/image2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 for MGMT – Applications of Differentiation</a:t>
            </a:r>
            <a:br>
              <a:rPr lang="en-US" dirty="0" smtClean="0"/>
            </a:br>
            <a:r>
              <a:rPr lang="en-US" dirty="0" smtClean="0"/>
              <a:t>The Chain Rule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 smtClean="0">
              <a:solidFill>
                <a:schemeClr val="tx1"/>
              </a:solidFill>
            </a:endParaRPr>
          </a:p>
          <a:p>
            <a:r>
              <a:rPr lang="en-US" dirty="0" smtClean="0"/>
              <a:t>Mathematics for Management</a:t>
            </a:r>
          </a:p>
          <a:p>
            <a:r>
              <a:rPr lang="en-US" dirty="0" smtClean="0"/>
              <a:t>Supplementary Electronic Materials</a:t>
            </a:r>
            <a:endParaRPr lang="en-US" dirty="0"/>
          </a:p>
        </p:txBody>
      </p:sp>
      <p:sp>
        <p:nvSpPr>
          <p:cNvPr id="6" name="Rechteck 5"/>
          <p:cNvSpPr/>
          <p:nvPr/>
        </p:nvSpPr>
        <p:spPr>
          <a:xfrm>
            <a:off x="251520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8604448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7092280" y="3363838"/>
            <a:ext cx="1800200" cy="360040"/>
          </a:xfrm>
          <a:prstGeom prst="rec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The Chain Rule</a:t>
            </a:r>
          </a:p>
        </p:txBody>
      </p:sp>
      <p:sp>
        <p:nvSpPr>
          <p:cNvPr id="11" name="Rechteck 10"/>
          <p:cNvSpPr/>
          <p:nvPr/>
        </p:nvSpPr>
        <p:spPr>
          <a:xfrm>
            <a:off x="7092280" y="4227934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Linear Approximation</a:t>
            </a:r>
          </a:p>
        </p:txBody>
      </p:sp>
      <p:sp>
        <p:nvSpPr>
          <p:cNvPr id="12" name="Rechteck 11"/>
          <p:cNvSpPr/>
          <p:nvPr/>
        </p:nvSpPr>
        <p:spPr>
          <a:xfrm>
            <a:off x="7092280" y="4659982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err="1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L’Hospital’s</a:t>
            </a:r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 Rules &amp; Indeterminate Forms</a:t>
            </a:r>
          </a:p>
        </p:txBody>
      </p:sp>
      <p:sp>
        <p:nvSpPr>
          <p:cNvPr id="13" name="Rechteck 12"/>
          <p:cNvSpPr/>
          <p:nvPr/>
        </p:nvSpPr>
        <p:spPr>
          <a:xfrm>
            <a:off x="7092280" y="2931790"/>
            <a:ext cx="1800200" cy="360040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Applications of</a:t>
            </a:r>
          </a:p>
          <a:p>
            <a:pPr algn="ctr"/>
            <a:r>
              <a:rPr lang="en-US" sz="1000" dirty="0" smtClean="0"/>
              <a:t>Differentiation</a:t>
            </a:r>
          </a:p>
        </p:txBody>
      </p:sp>
      <p:sp>
        <p:nvSpPr>
          <p:cNvPr id="14" name="Rechteck 13"/>
          <p:cNvSpPr/>
          <p:nvPr/>
        </p:nvSpPr>
        <p:spPr>
          <a:xfrm>
            <a:off x="7092280" y="3795886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Implicit Differentiation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advantage of the chain rule is its easy application to several layers of outer and inner functions</a:t>
            </a:r>
            <a:endParaRPr lang="en-US" dirty="0"/>
          </a:p>
        </p:txBody>
      </p:sp>
      <p:grpSp>
        <p:nvGrpSpPr>
          <p:cNvPr id="3" name="Gruppieren 5"/>
          <p:cNvGrpSpPr/>
          <p:nvPr/>
        </p:nvGrpSpPr>
        <p:grpSpPr>
          <a:xfrm>
            <a:off x="251520" y="1203598"/>
            <a:ext cx="6244837" cy="1296144"/>
            <a:chOff x="251520" y="1059582"/>
            <a:chExt cx="7021413" cy="1457326"/>
          </a:xfrm>
        </p:grpSpPr>
        <p:pic>
          <p:nvPicPr>
            <p:cNvPr id="29698" name="Picture 2" descr="a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251520" y="1203598"/>
              <a:ext cx="1428750" cy="1304926"/>
            </a:xfrm>
            <a:prstGeom prst="rect">
              <a:avLst/>
            </a:prstGeom>
            <a:noFill/>
          </p:spPr>
        </p:pic>
        <p:pic>
          <p:nvPicPr>
            <p:cNvPr id="29700" name="Picture 4" descr="a product of the derivatives of each function making up the function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2843808" y="1059582"/>
              <a:ext cx="4429125" cy="1457326"/>
            </a:xfrm>
            <a:prstGeom prst="rect">
              <a:avLst/>
            </a:prstGeom>
            <a:noFill/>
          </p:spPr>
        </p:pic>
        <p:sp>
          <p:nvSpPr>
            <p:cNvPr id="5" name="Freeform 37"/>
            <p:cNvSpPr>
              <a:spLocks/>
            </p:cNvSpPr>
            <p:nvPr/>
          </p:nvSpPr>
          <p:spPr bwMode="auto">
            <a:xfrm rot="14827613" flipH="1">
              <a:off x="2088545" y="1427746"/>
              <a:ext cx="588048" cy="1095320"/>
            </a:xfrm>
            <a:custGeom>
              <a:avLst/>
              <a:gdLst/>
              <a:ahLst/>
              <a:cxnLst>
                <a:cxn ang="0">
                  <a:pos x="75" y="36"/>
                </a:cxn>
                <a:cxn ang="0">
                  <a:pos x="174" y="87"/>
                </a:cxn>
                <a:cxn ang="0">
                  <a:pos x="285" y="162"/>
                </a:cxn>
                <a:cxn ang="0">
                  <a:pos x="417" y="282"/>
                </a:cxn>
                <a:cxn ang="0">
                  <a:pos x="513" y="405"/>
                </a:cxn>
                <a:cxn ang="0">
                  <a:pos x="591" y="528"/>
                </a:cxn>
                <a:cxn ang="0">
                  <a:pos x="657" y="666"/>
                </a:cxn>
                <a:cxn ang="0">
                  <a:pos x="717" y="813"/>
                </a:cxn>
                <a:cxn ang="0">
                  <a:pos x="762" y="969"/>
                </a:cxn>
                <a:cxn ang="0">
                  <a:pos x="792" y="1149"/>
                </a:cxn>
                <a:cxn ang="0">
                  <a:pos x="813" y="1332"/>
                </a:cxn>
                <a:cxn ang="0">
                  <a:pos x="813" y="1479"/>
                </a:cxn>
                <a:cxn ang="0">
                  <a:pos x="804" y="1635"/>
                </a:cxn>
                <a:cxn ang="0">
                  <a:pos x="780" y="1785"/>
                </a:cxn>
                <a:cxn ang="0">
                  <a:pos x="591" y="1830"/>
                </a:cxn>
                <a:cxn ang="0">
                  <a:pos x="1149" y="1971"/>
                </a:cxn>
                <a:cxn ang="0">
                  <a:pos x="1008" y="1869"/>
                </a:cxn>
                <a:cxn ang="0">
                  <a:pos x="1038" y="1716"/>
                </a:cxn>
                <a:cxn ang="0">
                  <a:pos x="1050" y="1566"/>
                </a:cxn>
                <a:cxn ang="0">
                  <a:pos x="1053" y="1395"/>
                </a:cxn>
                <a:cxn ang="0">
                  <a:pos x="1035" y="1206"/>
                </a:cxn>
                <a:cxn ang="0">
                  <a:pos x="1005" y="1050"/>
                </a:cxn>
                <a:cxn ang="0">
                  <a:pos x="963" y="900"/>
                </a:cxn>
                <a:cxn ang="0">
                  <a:pos x="912" y="762"/>
                </a:cxn>
                <a:cxn ang="0">
                  <a:pos x="837" y="603"/>
                </a:cxn>
                <a:cxn ang="0">
                  <a:pos x="750" y="462"/>
                </a:cxn>
                <a:cxn ang="0">
                  <a:pos x="669" y="363"/>
                </a:cxn>
                <a:cxn ang="0">
                  <a:pos x="558" y="249"/>
                </a:cxn>
                <a:cxn ang="0">
                  <a:pos x="433" y="157"/>
                </a:cxn>
                <a:cxn ang="0">
                  <a:pos x="297" y="81"/>
                </a:cxn>
                <a:cxn ang="0">
                  <a:pos x="153" y="24"/>
                </a:cxn>
                <a:cxn ang="0">
                  <a:pos x="0" y="0"/>
                </a:cxn>
              </a:cxnLst>
              <a:rect l="0" t="0" r="r" b="b"/>
              <a:pathLst>
                <a:path w="1149" h="2226">
                  <a:moveTo>
                    <a:pt x="6" y="6"/>
                  </a:moveTo>
                  <a:lnTo>
                    <a:pt x="75" y="36"/>
                  </a:lnTo>
                  <a:lnTo>
                    <a:pt x="129" y="60"/>
                  </a:lnTo>
                  <a:lnTo>
                    <a:pt x="174" y="87"/>
                  </a:lnTo>
                  <a:lnTo>
                    <a:pt x="228" y="120"/>
                  </a:lnTo>
                  <a:lnTo>
                    <a:pt x="285" y="162"/>
                  </a:lnTo>
                  <a:lnTo>
                    <a:pt x="342" y="210"/>
                  </a:lnTo>
                  <a:lnTo>
                    <a:pt x="417" y="282"/>
                  </a:lnTo>
                  <a:lnTo>
                    <a:pt x="465" y="345"/>
                  </a:lnTo>
                  <a:lnTo>
                    <a:pt x="513" y="405"/>
                  </a:lnTo>
                  <a:lnTo>
                    <a:pt x="549" y="462"/>
                  </a:lnTo>
                  <a:lnTo>
                    <a:pt x="591" y="528"/>
                  </a:lnTo>
                  <a:lnTo>
                    <a:pt x="627" y="603"/>
                  </a:lnTo>
                  <a:lnTo>
                    <a:pt x="657" y="666"/>
                  </a:lnTo>
                  <a:lnTo>
                    <a:pt x="684" y="723"/>
                  </a:lnTo>
                  <a:lnTo>
                    <a:pt x="717" y="813"/>
                  </a:lnTo>
                  <a:lnTo>
                    <a:pt x="738" y="894"/>
                  </a:lnTo>
                  <a:lnTo>
                    <a:pt x="762" y="969"/>
                  </a:lnTo>
                  <a:lnTo>
                    <a:pt x="777" y="1056"/>
                  </a:lnTo>
                  <a:lnTo>
                    <a:pt x="792" y="1149"/>
                  </a:lnTo>
                  <a:lnTo>
                    <a:pt x="807" y="1239"/>
                  </a:lnTo>
                  <a:lnTo>
                    <a:pt x="813" y="1332"/>
                  </a:lnTo>
                  <a:lnTo>
                    <a:pt x="813" y="1410"/>
                  </a:lnTo>
                  <a:lnTo>
                    <a:pt x="813" y="1479"/>
                  </a:lnTo>
                  <a:lnTo>
                    <a:pt x="810" y="1560"/>
                  </a:lnTo>
                  <a:lnTo>
                    <a:pt x="804" y="1635"/>
                  </a:lnTo>
                  <a:lnTo>
                    <a:pt x="792" y="1710"/>
                  </a:lnTo>
                  <a:lnTo>
                    <a:pt x="780" y="1785"/>
                  </a:lnTo>
                  <a:lnTo>
                    <a:pt x="762" y="1869"/>
                  </a:lnTo>
                  <a:lnTo>
                    <a:pt x="591" y="1830"/>
                  </a:lnTo>
                  <a:lnTo>
                    <a:pt x="786" y="2226"/>
                  </a:lnTo>
                  <a:lnTo>
                    <a:pt x="1149" y="1971"/>
                  </a:lnTo>
                  <a:lnTo>
                    <a:pt x="990" y="1932"/>
                  </a:lnTo>
                  <a:lnTo>
                    <a:pt x="1008" y="1869"/>
                  </a:lnTo>
                  <a:lnTo>
                    <a:pt x="1023" y="1797"/>
                  </a:lnTo>
                  <a:lnTo>
                    <a:pt x="1038" y="1716"/>
                  </a:lnTo>
                  <a:lnTo>
                    <a:pt x="1047" y="1644"/>
                  </a:lnTo>
                  <a:lnTo>
                    <a:pt x="1050" y="1566"/>
                  </a:lnTo>
                  <a:lnTo>
                    <a:pt x="1053" y="1482"/>
                  </a:lnTo>
                  <a:lnTo>
                    <a:pt x="1053" y="1395"/>
                  </a:lnTo>
                  <a:lnTo>
                    <a:pt x="1047" y="1299"/>
                  </a:lnTo>
                  <a:lnTo>
                    <a:pt x="1035" y="1206"/>
                  </a:lnTo>
                  <a:lnTo>
                    <a:pt x="1020" y="1113"/>
                  </a:lnTo>
                  <a:lnTo>
                    <a:pt x="1005" y="1050"/>
                  </a:lnTo>
                  <a:lnTo>
                    <a:pt x="987" y="975"/>
                  </a:lnTo>
                  <a:lnTo>
                    <a:pt x="963" y="900"/>
                  </a:lnTo>
                  <a:lnTo>
                    <a:pt x="942" y="831"/>
                  </a:lnTo>
                  <a:lnTo>
                    <a:pt x="912" y="762"/>
                  </a:lnTo>
                  <a:lnTo>
                    <a:pt x="879" y="684"/>
                  </a:lnTo>
                  <a:lnTo>
                    <a:pt x="837" y="603"/>
                  </a:lnTo>
                  <a:lnTo>
                    <a:pt x="798" y="534"/>
                  </a:lnTo>
                  <a:lnTo>
                    <a:pt x="750" y="462"/>
                  </a:lnTo>
                  <a:lnTo>
                    <a:pt x="711" y="408"/>
                  </a:lnTo>
                  <a:lnTo>
                    <a:pt x="669" y="363"/>
                  </a:lnTo>
                  <a:lnTo>
                    <a:pt x="615" y="309"/>
                  </a:lnTo>
                  <a:lnTo>
                    <a:pt x="558" y="249"/>
                  </a:lnTo>
                  <a:lnTo>
                    <a:pt x="501" y="201"/>
                  </a:lnTo>
                  <a:lnTo>
                    <a:pt x="433" y="157"/>
                  </a:lnTo>
                  <a:lnTo>
                    <a:pt x="366" y="114"/>
                  </a:lnTo>
                  <a:lnTo>
                    <a:pt x="297" y="81"/>
                  </a:lnTo>
                  <a:lnTo>
                    <a:pt x="225" y="51"/>
                  </a:lnTo>
                  <a:lnTo>
                    <a:pt x="153" y="24"/>
                  </a:lnTo>
                  <a:lnTo>
                    <a:pt x="81" y="9"/>
                  </a:lnTo>
                  <a:lnTo>
                    <a:pt x="0" y="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12700" cap="flat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7" name="Rechteck 6"/>
          <p:cNvSpPr/>
          <p:nvPr/>
        </p:nvSpPr>
        <p:spPr>
          <a:xfrm>
            <a:off x="1691680" y="2715766"/>
            <a:ext cx="7200800" cy="2304256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2787753"/>
            <a:ext cx="7085548" cy="208597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Repeated application of the Chain Rul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1584176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1763690" y="1203580"/>
            <a:ext cx="5849836" cy="1380458"/>
          </a:xfrm>
          <a:prstGeom prst="rect">
            <a:avLst/>
          </a:prstGeom>
          <a:noFill/>
          <a:ln/>
          <a:effectLst/>
        </p:spPr>
      </p:pic>
      <p:sp>
        <p:nvSpPr>
          <p:cNvPr id="11" name="Rechteck 10"/>
          <p:cNvSpPr/>
          <p:nvPr/>
        </p:nvSpPr>
        <p:spPr>
          <a:xfrm>
            <a:off x="1691680" y="3363838"/>
            <a:ext cx="7200800" cy="1584176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1763690" y="3435826"/>
            <a:ext cx="6356951" cy="957929"/>
          </a:xfrm>
          <a:prstGeom prst="rect">
            <a:avLst/>
          </a:prstGeom>
          <a:noFill/>
          <a:ln/>
          <a:effectLst/>
        </p:spPr>
      </p:pic>
      <p:sp>
        <p:nvSpPr>
          <p:cNvPr id="17" name="Rechteck 16"/>
          <p:cNvSpPr/>
          <p:nvPr/>
        </p:nvSpPr>
        <p:spPr>
          <a:xfrm>
            <a:off x="5724128" y="987574"/>
            <a:ext cx="3312368" cy="360040"/>
          </a:xfrm>
          <a:prstGeom prst="rect">
            <a:avLst/>
          </a:prstGeom>
          <a:solidFill>
            <a:schemeClr val="bg1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9" name="Grafik 18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 cstate="print"/>
          <a:stretch>
            <a:fillRect/>
          </a:stretch>
        </p:blipFill>
        <p:spPr>
          <a:xfrm>
            <a:off x="5796136" y="1061582"/>
            <a:ext cx="3172059" cy="213615"/>
          </a:xfrm>
          <a:prstGeom prst="rect">
            <a:avLst/>
          </a:prstGeom>
          <a:noFill/>
          <a:ln/>
          <a:effectLst/>
        </p:spPr>
      </p:pic>
      <p:sp>
        <p:nvSpPr>
          <p:cNvPr id="20" name="Rechteck 19"/>
          <p:cNvSpPr/>
          <p:nvPr/>
        </p:nvSpPr>
        <p:spPr>
          <a:xfrm>
            <a:off x="5724128" y="3219822"/>
            <a:ext cx="3312368" cy="360040"/>
          </a:xfrm>
          <a:prstGeom prst="rect">
            <a:avLst/>
          </a:prstGeom>
          <a:solidFill>
            <a:schemeClr val="bg1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1" name="Grafik 20" descr="IguanaTex_tmp.png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8" cstate="print"/>
          <a:stretch>
            <a:fillRect/>
          </a:stretch>
        </p:blipFill>
        <p:spPr>
          <a:xfrm>
            <a:off x="5796136" y="3293830"/>
            <a:ext cx="3172059" cy="21361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a rate of change of demand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Grafik 13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0"/>
            <a:ext cx="7079928" cy="3723645"/>
          </a:xfrm>
          <a:prstGeom prst="rect">
            <a:avLst/>
          </a:prstGeom>
          <a:noFill/>
          <a:ln/>
          <a:effectLst/>
        </p:spPr>
      </p:pic>
      <p:pic>
        <p:nvPicPr>
          <p:cNvPr id="27650" name="Picture 2" descr="Oster Red Blenders and Juicers | Nebraska Furniture Mart"/>
          <p:cNvPicPr>
            <a:picLocks noChangeAspect="1" noChangeArrowheads="1"/>
          </p:cNvPicPr>
          <p:nvPr/>
        </p:nvPicPr>
        <p:blipFill>
          <a:blip r:embed="rId4" cstate="print"/>
          <a:srcRect l="20833" r="16667"/>
          <a:stretch>
            <a:fillRect/>
          </a:stretch>
        </p:blipFill>
        <p:spPr bwMode="auto">
          <a:xfrm>
            <a:off x="233518" y="1203598"/>
            <a:ext cx="810090" cy="1296144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a rate of change of demand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79"/>
            <a:ext cx="7096353" cy="3745010"/>
          </a:xfrm>
          <a:prstGeom prst="rect">
            <a:avLst/>
          </a:prstGeom>
          <a:noFill/>
          <a:ln/>
          <a:effectLst/>
        </p:spPr>
      </p:pic>
      <p:pic>
        <p:nvPicPr>
          <p:cNvPr id="27650" name="Picture 2" descr="Oster Red Blenders and Juicers | Nebraska Furniture Mart"/>
          <p:cNvPicPr>
            <a:picLocks noChangeAspect="1" noChangeArrowheads="1"/>
          </p:cNvPicPr>
          <p:nvPr/>
        </p:nvPicPr>
        <p:blipFill>
          <a:blip r:embed="rId4" cstate="print"/>
          <a:srcRect l="20833" r="16667"/>
          <a:stretch>
            <a:fillRect/>
          </a:stretch>
        </p:blipFill>
        <p:spPr bwMode="auto">
          <a:xfrm>
            <a:off x="233518" y="1203598"/>
            <a:ext cx="810090" cy="1296144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 for Management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 order to differentiate composite functions …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5"/>
            <a:ext cx="7065696" cy="3223536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… we need to consider a two step procedure that takes care of the derivatives of the outer and the inner function</a:t>
            </a:r>
            <a:endParaRPr lang="en-US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print"/>
          <a:srcRect b="21165"/>
          <a:stretch>
            <a:fillRect/>
          </a:stretch>
        </p:blipFill>
        <p:spPr bwMode="auto">
          <a:xfrm>
            <a:off x="54165" y="1146830"/>
            <a:ext cx="6569312" cy="2236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1691680" y="3579862"/>
            <a:ext cx="7200800" cy="1440160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3651857"/>
            <a:ext cx="7061573" cy="99747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Chain Rule: the derivative of a composite function is the product of the</a:t>
            </a:r>
            <a:br>
              <a:rPr lang="en-US" dirty="0" smtClean="0"/>
            </a:br>
            <a:r>
              <a:rPr lang="en-US" dirty="0" smtClean="0"/>
              <a:t>derivatives of the outer and the inner function</a:t>
            </a:r>
            <a:endParaRPr lang="en-US" dirty="0"/>
          </a:p>
        </p:txBody>
      </p:sp>
      <p:pic>
        <p:nvPicPr>
          <p:cNvPr id="2050" name="Picture 2" descr="The idea of the chain rule - Math Insight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93048" y="3291830"/>
            <a:ext cx="1584176" cy="508057"/>
          </a:xfrm>
          <a:prstGeom prst="rect">
            <a:avLst/>
          </a:prstGeom>
          <a:noFill/>
        </p:spPr>
      </p:pic>
      <p:sp>
        <p:nvSpPr>
          <p:cNvPr id="10" name="Rechteck 9"/>
          <p:cNvSpPr/>
          <p:nvPr/>
        </p:nvSpPr>
        <p:spPr>
          <a:xfrm>
            <a:off x="3419872" y="1131590"/>
            <a:ext cx="5472608" cy="2880320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491880" y="1203596"/>
            <a:ext cx="5360327" cy="2693986"/>
          </a:xfrm>
          <a:prstGeom prst="rect">
            <a:avLst/>
          </a:prstGeom>
          <a:noFill/>
          <a:ln/>
          <a:effectLst/>
        </p:spPr>
      </p:pic>
      <p:sp>
        <p:nvSpPr>
          <p:cNvPr id="13" name="Rechteck 12"/>
          <p:cNvSpPr/>
          <p:nvPr/>
        </p:nvSpPr>
        <p:spPr>
          <a:xfrm>
            <a:off x="3419872" y="4155926"/>
            <a:ext cx="5472608" cy="576064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Grafik 14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491880" y="4227931"/>
            <a:ext cx="5356923" cy="419226"/>
          </a:xfrm>
          <a:prstGeom prst="rect">
            <a:avLst/>
          </a:prstGeom>
          <a:noFill/>
          <a:ln/>
          <a:effectLst/>
        </p:spPr>
      </p:pic>
      <p:pic>
        <p:nvPicPr>
          <p:cNvPr id="16" name="Grafik 15" descr="function_machines_composed_combined.png"/>
          <p:cNvPicPr>
            <a:picLocks noChangeAspect="1"/>
          </p:cNvPicPr>
          <p:nvPr/>
        </p:nvPicPr>
        <p:blipFill>
          <a:blip r:embed="rId7" cstate="print"/>
          <a:srcRect t="3928"/>
          <a:stretch>
            <a:fillRect/>
          </a:stretch>
        </p:blipFill>
        <p:spPr>
          <a:xfrm>
            <a:off x="251604" y="1078250"/>
            <a:ext cx="1656100" cy="1918803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Application of the Chain Rul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024336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1203586"/>
            <a:ext cx="7055289" cy="2813950"/>
          </a:xfrm>
          <a:prstGeom prst="rect">
            <a:avLst/>
          </a:prstGeom>
          <a:noFill/>
          <a:ln/>
          <a:effectLst/>
        </p:spPr>
      </p:pic>
      <p:sp>
        <p:nvSpPr>
          <p:cNvPr id="14" name="Rechteck 13"/>
          <p:cNvSpPr/>
          <p:nvPr/>
        </p:nvSpPr>
        <p:spPr>
          <a:xfrm>
            <a:off x="1691680" y="4227934"/>
            <a:ext cx="7200800" cy="792088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Grafik 15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1763690" y="4299930"/>
            <a:ext cx="7068564" cy="637134"/>
          </a:xfrm>
          <a:prstGeom prst="rect">
            <a:avLst/>
          </a:prstGeom>
          <a:noFill/>
          <a:ln/>
          <a:effectLst/>
        </p:spPr>
      </p:pic>
      <p:sp>
        <p:nvSpPr>
          <p:cNvPr id="17" name="Rechteck 16"/>
          <p:cNvSpPr/>
          <p:nvPr/>
        </p:nvSpPr>
        <p:spPr>
          <a:xfrm>
            <a:off x="6732240" y="987574"/>
            <a:ext cx="2304256" cy="360040"/>
          </a:xfrm>
          <a:prstGeom prst="rect">
            <a:avLst/>
          </a:prstGeom>
          <a:solidFill>
            <a:schemeClr val="bg1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Grafik 17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6847204" y="1061583"/>
            <a:ext cx="2074328" cy="21202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Application of the Chain Rul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80"/>
            <a:ext cx="6182362" cy="2912980"/>
          </a:xfrm>
          <a:prstGeom prst="rect">
            <a:avLst/>
          </a:prstGeom>
          <a:noFill/>
          <a:ln/>
          <a:effectLst/>
        </p:spPr>
      </p:pic>
      <p:sp>
        <p:nvSpPr>
          <p:cNvPr id="21" name="Rechteck 20"/>
          <p:cNvSpPr/>
          <p:nvPr/>
        </p:nvSpPr>
        <p:spPr>
          <a:xfrm>
            <a:off x="6732240" y="987574"/>
            <a:ext cx="2304256" cy="360040"/>
          </a:xfrm>
          <a:prstGeom prst="rect">
            <a:avLst/>
          </a:prstGeom>
          <a:solidFill>
            <a:schemeClr val="bg1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2" name="Grafik 21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6847204" y="1061583"/>
            <a:ext cx="2074328" cy="21202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Application of the Chain Rule for differentiating exponential function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Grafik 1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1"/>
            <a:ext cx="7057582" cy="3782769"/>
          </a:xfrm>
          <a:prstGeom prst="rect">
            <a:avLst/>
          </a:prstGeom>
          <a:noFill/>
          <a:ln/>
          <a:effectLst/>
        </p:spPr>
      </p:pic>
      <p:sp>
        <p:nvSpPr>
          <p:cNvPr id="16" name="Abgerundetes Rechteck 15"/>
          <p:cNvSpPr/>
          <p:nvPr/>
        </p:nvSpPr>
        <p:spPr>
          <a:xfrm>
            <a:off x="3131840" y="3579862"/>
            <a:ext cx="4320480" cy="648072"/>
          </a:xfrm>
          <a:prstGeom prst="round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a rate of change of cost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0"/>
            <a:ext cx="7071257" cy="3391760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a rate of change of cost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244827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80"/>
            <a:ext cx="6978435" cy="224262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12iISWwkOOVDsSNsZR1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69,254"/>
  <p:tag name="ORIGINALWIDTH" val="4494,188"/>
  <p:tag name="LATEXADDIN" val="\documentclass{article}\pagestyle{empty}&#10;\usepackage{amsmath}&#10;\usepackage{amsfonts}&#10;\usepackage{amssymb}&#10;\begin{document}&#10;\begin{minipage}{12.7 cm}&#10;{\sffamily{&#10;Suppose you are asked to differentiate the function&#10;$$&#10;F(x) \, \, = \, \, \sqrt{x^2 + 1} \, .&#10;$$&#10;The differentiation formulas we learned in the previous lectures do not enable you to calculate $F(x)$.\\[2mm]&#10;Observe that $F$ is a composite function. In fact, if we let&#10;$$&#10;y \, \, = \, \, f(u) \, \, = \, \, \sqrt{u} \qquad \text{and} \qquad&#10;u \, \, = \, \, g(x) \, \, = \, \, x^2 + 1 \, ,&#10;$$&#10;then we can write $y = F(x) = f(g(x))$, that is, $F = f \circ g$.\\[2mm]&#10;We know how to differentiate both $f$ and $g$, so it would be useful to have a rule that tells us how to&#10;find the derivative of $F = f \circ g$ in terms of the derivatives of $f$ and $g$.&#10;}}&#10;\end{minipage}&#10;\end{document}"/>
  <p:tag name="IGUANATEXSIZE" val="20"/>
  <p:tag name="IGUANATEXCURSOR" val="58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08,174"/>
  <p:tag name="ORIGINALWIDTH" val="4491,189"/>
  <p:tag name="LATEXADDIN" val="\documentclass{article}\pagestyle{empty}&#10;\usepackage{amsmath}&#10;\usepackage{amsfonts}&#10;\usepackage{amssymb}&#10;\begin{document}&#10;\begin{minipage}{12.7 cm}&#10;{\sffamily{&#10;It turns out that the derivative of the composite function $f \circ g$ is the product of the&#10;derivatives of $f$ and $g$.\\[2mm]&#10;This fact is one of the most important of the differentiation rules and&#10;is called the {\bf{Chain Rule}}.}}&#10;\end{minipage}&#10;\end{document}"/>
  <p:tag name="IGUANATEXSIZE" val="20"/>
  <p:tag name="IGUANATEXCURSOR" val="28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77,54"/>
  <p:tag name="ORIGINALWIDTH" val="3430,072"/>
  <p:tag name="LATEXADDIN" val="\documentclass{article}\pagestyle{empty}&#10;\usepackage{amsmath}&#10;\usepackage{amsfonts}&#10;\usepackage{amssymb}&#10;\begin{document}&#10;\begin{minipage}{9.7 cm}&#10;{\sffamily{&#10;{\bf{The Chain Rule:}} \\[1mm]&#10;If $g$ is differentiable at $x$ and $f$ is differentiable at $g(x)$, then the composite function $F = f \circ g$ defined by $F(x) = f(g(x))$ is differentiable at $x$&#10;and $F'$ is given by the product&#10;$$&#10;F'(x) \, \, = \, \, f'( g(x) ) \cdot g'(x) \, .&#10;$$&#10;In Leibniz notation, if $y = f(u)$ and $u = g(x)$ are both differentiable functions, then&#10;$$&#10;\frac{\textrm{d} \, y}{\textrm{d} \, x} \, \, = \, \, \frac{\textrm{d} \, y}{\textrm{d} \, u} \cdot \frac{\textrm{d} \, u}{\textrm{d} \, x} \, .&#10;$$&#10;}}&#10;\end{minipage}&#10;\end{document}"/>
  <p:tag name="IGUANATEXSIZE" val="20"/>
  <p:tag name="IGUANATEXCURSOR" val="68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60,9674"/>
  <p:tag name="ORIGINALWIDTH" val="3427,822"/>
  <p:tag name="LATEXADDIN" val="\documentclass{article}\pagestyle{empty}&#10;\usepackage{amsmath}&#10;\usepackage{amsfonts}&#10;\usepackage{amssymb}&#10;\begin{document}&#10;\begin{minipage}{9.7 cm}&#10;{\sffamily{&#10;Before we prove the Chain Rule let us give some examples for its application.}}&#10;\end{minipage}&#10;\end{document}"/>
  <p:tag name="IGUANATEXSIZE" val="20"/>
  <p:tag name="IGUANATEXCURSOR" val="23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09,036"/>
  <p:tag name="ORIGINALWIDTH" val="4485,189"/>
  <p:tag name="LATEXADDIN" val="\documentclass{article}\pagestyle{empty}&#10;\usepackage{amsmath}&#10;\usepackage{amsfonts}&#10;\usepackage{amssymb}&#10;\begin{document}&#10;\begin{minipage}{12.7 cm}&#10;{\sffamily{&#10;{\bf{Example:}}\\[1mm]&#10;Find $F'(x)$ if $F(x) = \sqrt{x^2+1}$.\\[2mm]&#10;{\bf{Solution:}}\\[1mm]&#10;With $f(u) = \sqrt{u} = u^{1/2}$ and $g(x) = x^2 + 1$ we have $F(x) = (f \circ g)(x) = f(g(x))$. Since&#10;$$&#10;f'(u) \, \, = \, \, \tfrac{1}{2} u^{-1/2} \, \, = \, \, \frac{1}{2 \sqrt{u}} \qquad \text{and} \qquad&#10;g'(x) \, \, = \, \ 2 x&#10;$$&#10;we obtain&#10;$$&#10;F'(x) \, \, = \, \, f'(g(x)) \cdot g'(x) \, \, = \, \, \frac{1}{2 \sqrt{x^2+1}} \cdot 2x \, \, = \, \, \frac{x}{\sqrt{x^2 + 1}} \, .&#10;$$&#10;}}&#10;\end{minipage}&#10;\end{document}"/>
  <p:tag name="IGUANATEXSIZE" val="20"/>
  <p:tag name="IGUANATEXCURSOR" val="62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86,9517"/>
  <p:tag name="ORIGINALWIDTH" val="4493,438"/>
  <p:tag name="LATEXADDIN" val="\documentclass{article}\pagestyle{empty}&#10;\usepackage{amsmath}&#10;\usepackage{amsfonts}&#10;\usepackage{amssymb}&#10;\begin{document}&#10;\begin{minipage}{12.7 cm}&#10;{\sffamily{&#10;In using the Chain Rule we work from the outside to the inside: {\bf{We differentiate the outer function $f$ [at the inner function $g(x)$] and then we&#10;multiply by the derivative of the inner function}}.}}&#10;\end{minipage}&#10;\end{document}"/>
  <p:tag name="IGUANATEXSIZE" val="20"/>
  <p:tag name="IGUANATEXCURSOR" val="36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1,9835"/>
  <p:tag name="ORIGINALWIDTH" val="1327,334"/>
  <p:tag name="LATEXADDIN" val="\documentclass{article}\pagestyle{empty}&#10;\usepackage{amsmath}&#10;\usepackage{amsfonts}&#10;\usepackage{amssymb}&#10;\begin{document}&#10;\begin{minipage}{9.7 cm}&#10;{\sffamily{&#10;$$&#10;F'(x) \, \, = \, \, f'( g(x) ) \cdot g'(x)&#10;$$&#10;}}&#10;\end{minipage}&#10;\end{document}"/>
  <p:tag name="IGUANATEXSIZE" val="20"/>
  <p:tag name="IGUANATEXCURSOR" val="20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63,78"/>
  <p:tag name="ORIGINALWIDTH" val="3925,76"/>
  <p:tag name="LATEXADDIN" val="\documentclass{article}\pagestyle{empty}&#10;\usepackage{amsmath}&#10;\usepackage{amsfonts}&#10;\usepackage{amssymb}&#10;\begin{document}&#10;\begin{minipage}{12.7 cm}&#10;{\sffamily{&#10;{\bf{Example:}}\\[1mm]&#10;Differentiate {\bf{a)}} $y = \sin(x^2)$ and {\bf{b)}} $y = \sin^2(x)$.\\[2mm]&#10;{\bf{Solution:}}\\[1mm]&#10;{\bf{a)}} With $f(u) = \sin(u)$ and $g(x) = x^2$ we have&#10;$$&#10;\frac{\textrm{d}}{\textrm{d} \, x} \, \sin(x^2) \, \, = \, \, \cos( x^2 ) \cdot 2 x \, \, = \, \, 2x \cos(x^2) \, . &#10;$$&#10;{\bf{b)}} With $f(u) = u^2$ and $g(x) = \sin(x)$ we have&#10;$$&#10;\frac{\textrm{d}}{\textrm{d} \, x} \, \sin^2(x) \, \, = \, \, 2 \sin(x) \cdot \cos(x) \, \, = \, \, 2 \sin(x) \cos(x) \, \, = \, \, \sin(2x) \, . &#10;$$&#10;}}&#10;\end{minipage}&#10;\end{document}"/>
  <p:tag name="IGUANATEXSIZE" val="20"/>
  <p:tag name="IGUANATEXCURSOR" val="454"/>
  <p:tag name="TRANSPARENCY" val="Wahr"/>
  <p:tag name="FILENAME" val=""/>
  <p:tag name="LATEXENGINEID" val="0"/>
  <p:tag name="TEMPFOLDER" val="C:\Users\Public\temp\"/>
  <p:tag name="LATEXFORMHEIGHT" val="482,25"/>
  <p:tag name="LATEXFORMWIDTH" val="1030,5"/>
  <p:tag name="LATEXFORMWRAP" val="Wahr"/>
  <p:tag name="BITMAPVECTOR" val="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1,9835"/>
  <p:tag name="ORIGINALWIDTH" val="1327,334"/>
  <p:tag name="LATEXADDIN" val="\documentclass{article}\pagestyle{empty}&#10;\usepackage{amsmath}&#10;\usepackage{amsfonts}&#10;\usepackage{amssymb}&#10;\begin{document}&#10;\begin{minipage}{9.7 cm}&#10;{\sffamily{&#10;$$&#10;F'(x) \, \, = \, \, f'( g(x) ) \cdot g'(x)&#10;$$&#10;}}&#10;\end{minipage}&#10;\end{document}"/>
  <p:tag name="IGUANATEXSIZE" val="20"/>
  <p:tag name="IGUANATEXCURSOR" val="20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305,212"/>
  <p:tag name="ORIGINALWIDTH" val="4484,44"/>
  <p:tag name="LATEXADDIN" val="\documentclass{article}\pagestyle{empty}&#10;\usepackage{amsmath}&#10;\usepackage{amsfonts}&#10;\usepackage{amssymb}&#10;\begin{document}&#10;\begin{minipage}{12.7 cm}&#10;{\sffamily{&#10;{\bf{Example:}} We can use the Chain Rule to differentiate an exponential function with any base $b &gt; 0$. Recall that $b = {\rm{e}}^{\ln(b)}$. So\\[-1mm]&#10;$$&#10;b^x \, \, = \, \, \left( {\rm{e}}^{\ln(b)} \right)^x \, \, = \, \, {\rm{e}}^{x \cdot \ln(b)}&#10;$$\\[-4mm]&#10;and the Chain Rule gives\\[-1mm]&#10;$$&#10;\frac{\textrm{d}}{\textrm{d} \, x} \, b^x \, \, = \, \,&#10;\frac{\textrm{d}}{\textrm{d} \, x} \, {\rm{e}}^{x \cdot \ln(b)} \, \, = \, \, {\rm{e}}^{x \cdot \ln(b)} \cdot \ln(b) \, \, = \, \, \ln(b) \, b^x \, ,&#10;$$\\[-2mm]&#10;because $\ln(b)$ is a constant. So we have the formula&#10;$$&#10;\frac{\textrm{d}}{\textrm{d} \, x} \, b^x \, \, = \, \, \ln(b) \, b^x \, .&#10;$$&#10;For instance, if $b = 2$, we get\\[-3mm]&#10;$$&#10;\frac{\textrm{d}}{\textrm{d} \, x} \, 2^x \, \, = \, \, \ln(2) \, 2^x \, .&#10;$$&#10;}}&#10;\end{minipage}&#10;\end{document}"/>
  <p:tag name="IGUANATEXSIZE" val="20"/>
  <p:tag name="IGUANATEXCURSOR" val="41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66,742"/>
  <p:tag name="ORIGINALWIDTH" val="4492,689"/>
  <p:tag name="LATEXADDIN" val="\documentclass{article}\pagestyle{empty}&#10;\usepackage{amsmath}&#10;\usepackage{amsfonts}&#10;\usepackage{amssymb}&#10;\begin{document}&#10;\begin{minipage}{12.7 cm}&#10;{\sffamily{&#10;{\bf{Example: (Finding a Rate of Change of Cost)}}\\[1mm]&#10;The cost of producing $x$ units of a particular commodity is $C(x) = \tfrac{1}{3}x^2 + 4x + 53$ GEL, and the production level $t$ hours&#10;into a particular production run is $x(t) = 0.2 t^2 + 0.03t$ units. At what rate is cost changing with respect to time after $4$ hours?&#10;&#10;\vspace{0.3cm}&#10;{\bf{Solution:}}\\[1mm]&#10;We find that&#10;$$&#10;\frac{\textrm{d} C(x)}{\textrm{d} x} \, \, = \, \, \tfrac{2}{3} x + 4 \qquad \text{and} \qquad \frac{\textrm{d} x(t)}{\textrm{d} t} \, \, = \, \, 0.4t + 0.03 \, ,&#10;$$&#10;so according to the chain rule,&#10;$$&#10;\frac{\textrm{d} C(x(t))}{\textrm{d} t} \, \, = \, \, \frac{\textrm{d} C(x)}{\textrm{d} x} \cdot \frac{\textrm{d} x(t)}{\textrm{d} t}&#10;\, \, = \, \, \left( \tfrac{2}{3} x + 4 \right) \cdot \left( 0.4t + 0.03 \right) \, .&#10;$$&#10;}}&#10;\end{minipage}&#10;\end{document}"/>
  <p:tag name="IGUANATEXSIZE" val="20"/>
  <p:tag name="IGUANATEXCURSOR" val="96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65,579"/>
  <p:tag name="ORIGINALWIDTH" val="4432,696"/>
  <p:tag name="LATEXADDIN" val="\documentclass{article}\pagestyle{empty}&#10;\usepackage{amsmath}&#10;\usepackage{amsfonts}&#10;\usepackage{amssymb}&#10;\begin{document}&#10;\begin{minipage}{12.7 cm}&#10;{\sffamily{&#10;When $t=4$, the level of production is&#10;$$&#10;x(t) \, \, = \, \, 0.2 \cdot 4^2 + 0.03 \cdot 4 \, \, = \, \, 3.32 \quad \text{[units]}&#10;$$&#10;and by substituting $t=4$ and $x = 3.32$ into the formula for $\frac{\textrm{d} C(x(t))}{\textrm{d} t}$, we get&#10;$$&#10;\frac{\textrm{d} C(x(t))}{\textrm{d} t} \Big|_{t = 4 \, , \, x = 3.32}&#10;\, \, = \, \, \left( \tfrac{2}{3} \cdot 3.32 + 4 \right) \cdot \left( 0.4 \cdot 4 + 0.03 \right)&#10;\, \, = \, \, 10.1277 \, .&#10;$$&#10;Thus, after $4$ hours, cost is increasing at the rate of approximately $10.13$ GEL per hour.&#10;}}&#10;\end{minipage}&#10;\end{document}"/>
  <p:tag name="IGUANATEXSIZE" val="20"/>
  <p:tag name="IGUANATEXCURSOR" val="68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45,594"/>
  <p:tag name="ORIGINALWIDTH" val="4493,438"/>
  <p:tag name="LATEXADDIN" val="\documentclass{article}\pagestyle{empty}&#10;\usepackage{amsmath}&#10;\usepackage{amsfonts}&#10;\usepackage{amssymb}&#10;\begin{document}&#10;\begin{minipage}{12.7 cm}&#10;{\sffamily{&#10;The reason for the name 'Chain Rule' becomes clear when we make a longer chain by adding another link.\\[2mm]&#10;Suppose that $y = f(u)$, $u = g(x)$, and $x = h(t)$, where $f$, $t$, and $h$ are differentiable functions.\\[2mm]&#10;Then, to compute the&#10;derivative of $y$ with respect to $t$, we use the Chain Rule twice:&#10;$$&#10;\frac{\textrm{d} \, y}{\textrm{d} \, t} \, \, = \, \, \frac{\textrm{d} \, y}{\textrm{d} \, x} \, \frac{\textrm{d} \, x}{\textrm{d} \, t}&#10;\, \, = \, \,&#10;\frac{\textrm{d} \, y}{\textrm{d} \, u} \, \frac{\textrm{d} \, u}{\textrm{d} \, x} \, \frac{\textrm{d} \, x}{\textrm{d} \, t}&#10;$$&#10;}}&#10;\end{minipage}&#10;\end{document}"/>
  <p:tag name="IGUANATEXSIZE" val="20"/>
  <p:tag name="IGUANATEXCURSOR" val="38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33,8958"/>
  <p:tag name="ORIGINALWIDTH" val="3712,036"/>
  <p:tag name="LATEXADDIN" val="\documentclass{article}\pagestyle{empty}&#10;\usepackage{amsmath}&#10;\usepackage{amsfonts}&#10;\usepackage{amssymb}&#10;\begin{document}&#10;\begin{minipage}{12.7 cm}&#10;{\sffamily{&#10;{\bf{Example:}}\\[1mm]&#10;If $F(x) = \sin( \cos( \tan(x) ) )$, then&#10;\begin{eqnarray*}&#10;F'(x) &amp; = &amp; \cos( \cos( \tan(x) ) ) \cdot (-1) \sin( \tan(x) ) \cdot \sec^2(x)\\[2mm]&#10;&amp; = &amp; - \cos( \cos( \tan(x) ) ) \cdot \sin( \tan(x) ) \cdot \sec^2(x)&#10;\end{eqnarray*}&#10;}}&#10;\end{minipage}&#10;\end{document}"/>
  <p:tag name="IGUANATEXSIZE" val="20"/>
  <p:tag name="IGUANATEXCURSOR" val="33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76,678"/>
  <p:tag name="ORIGINALWIDTH" val="4032,996"/>
  <p:tag name="LATEXADDIN" val="\documentclass{article}\pagestyle{empty}&#10;\usepackage{amsmath}&#10;\usepackage{amsfonts}&#10;\usepackage{amssymb}&#10;\begin{document}&#10;\begin{minipage}{12.7 cm}&#10;{\sffamily{&#10;{\bf{Example:}}\\[1mm]&#10;If $F(x) = {\rm{e}}^{\sec(3x)}$, then&#10;\begin{eqnarray*}&#10;F'(x) &amp; = &amp; {\rm{e}}^{\sec(3x)} \cdot \sec(3x) \tan(3x) \cdot 3 \, \, = \, \, 3 \sec(3x) \tan(3x) {\rm{e}}^{\sec(3x)}&#10;\end{eqnarray*}&#10;}}&#10;\end{minipage}&#10;\end{document}"/>
  <p:tag name="IGUANATEXSIZE" val="20"/>
  <p:tag name="IGUANATEXCURSOR" val="292"/>
  <p:tag name="TRANSPARENCY" val="Wahr"/>
  <p:tag name="FILENAME" val=""/>
  <p:tag name="LATEXENGINEID" val="0"/>
  <p:tag name="TEMPFOLDER" val="C:\Users\Public\temp\"/>
  <p:tag name="LATEXFORMHEIGHT" val="482,25"/>
  <p:tag name="LATEXFORMWIDTH" val="1030,5"/>
  <p:tag name="LATEXFORMWRAP" val="Wahr"/>
  <p:tag name="BITMAPVECTOR" val="0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1,9835"/>
  <p:tag name="ORIGINALWIDTH" val="2029,246"/>
  <p:tag name="LATEXADDIN" val="\documentclass{article}\pagestyle{empty}&#10;\usepackage{amsmath}&#10;\usepackage{amsfonts}&#10;\usepackage{amssymb}&#10;\begin{document}&#10;\begin{minipage}{9.7 cm}&#10;{\sffamily{&#10;$$&#10;F'(x) \, \, = \, \, f'( g(h(x)) ) \cdot g'(h(x)) \cdot h'(x)&#10;$$&#10;}}&#10;\end{minipage}&#10;\end{document}"/>
  <p:tag name="IGUANATEXSIZE" val="20"/>
  <p:tag name="IGUANATEXCURSOR" val="22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1,9835"/>
  <p:tag name="ORIGINALWIDTH" val="2029,246"/>
  <p:tag name="LATEXADDIN" val="\documentclass{article}\pagestyle{empty}&#10;\usepackage{amsmath}&#10;\usepackage{amsfonts}&#10;\usepackage{amssymb}&#10;\begin{document}&#10;\begin{minipage}{9.7 cm}&#10;{\sffamily{&#10;$$&#10;F'(x) \, \, = \, \, f'( g(h(x)) ) \cdot g'(h(x)) \cdot h'(x)&#10;$$&#10;}}&#10;\end{minipage}&#10;\end{document}"/>
  <p:tag name="IGUANATEXSIZE" val="20"/>
  <p:tag name="IGUANATEXCURSOR" val="22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64,717"/>
  <p:tag name="ORIGINALWIDTH" val="4494,188"/>
  <p:tag name="LATEXADDIN" val="\documentclass{article}\pagestyle{empty}&#10;\usepackage{amsmath}&#10;\usepackage{amsfonts}&#10;\usepackage{amssymb}&#10;\begin{document}&#10;\begin{minipage}{12.7 cm}&#10;{\sffamily{&#10;{\bf{Example: (Finding a Rate of Change of Cost)}}\\[1mm]&#10;Anri manages an export-oriented appliance manufacturing firm. She determines that when blenders&#10;for the EU market are priced at $p$ EUR apiece, the number sold each month will be&#10;$$&#10;D(p) \, \, = \, \, 8000 \cdot p^{-1}&#10;$$&#10;Furthermore, she estimates that $t$ months from now, blenders will be selling at a price&#10;of $p(t)=0.06 t^{3/2}+22.5$ EUR apiece.\\[1mm]&#10;At what rate should Anri expect the monthly&#10;demand $D(p)$ to be changing with respect to time $25$ months from now? Will the&#10;demand be increasing or decreasing at that time?&#10;&#10;\vspace{0.3cm}&#10;{\bf{Solution:}}\\[1mm]&#10;We want to find $\frac{\textrm{d} D}{\textrm{d} t}$ when $t=25$. We have\\[-2mm]&#10;$$&#10;\frac{\textrm{d} D}{\textrm{d} p} \, \, = \, \, \frac{\textrm{d}}{\textrm{d} p} \left( \frac{8000}{p} \right) \, \, = \, \, -\frac{8000}{p^2}&#10;$$&#10;}}&#10;\end{minipage}&#10;\end{document}"/>
  <p:tag name="IGUANATEXSIZE" val="20"/>
  <p:tag name="IGUANATEXCURSOR" val="43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74,466"/>
  <p:tag name="ORIGINALWIDTH" val="4502,438"/>
  <p:tag name="LATEXADDIN" val="\documentclass{article}\pagestyle{empty}&#10;\usepackage{amsmath}&#10;\usepackage{amsfonts}&#10;\usepackage{amssymb}&#10;\begin{document}&#10;\begin{minipage}{12.7 cm}&#10;{\sffamily{&#10;and&#10;$$&#10;\frac{\textrm{d} p}{\textrm{d} t} \, \, = \, \, \frac{\textrm{d}}{\textrm{d} t} \left( 0.06 t^{3/2} + 22.5 \right)&#10;\, \, = \, \, 0.09 t^{1/2}&#10;$$&#10;so it follows from the chain rule that&#10;$$&#10;\frac{\textrm{d} D}{\textrm{d} t} \, \, = \, \, \frac{\textrm{d} D}{\textrm{d} p} \cdot \frac{\textrm{d} p}{\textrm{d} t} \, \, = \, \,&#10;-\frac{8000}{p^2} \cdot 0.09 t^{1/2} \, .&#10;$$&#10;When $t=25$, the unit price is\\[-2mm]&#10;$$&#10;p(25) \, \, = \, \, 0.06 \cdot 25^{3/2} + 22.5 \, \, = \, \, 30 \quad \text{[EUR]}&#10;$$&#10;and we have&#10;$$&#10;\frac{\textrm{d} D}{\textrm{d} t} \Big|_{t=25 \, , \, p = 30} \, \, = \, \, -\frac{8000}{30^2} \cdot 0.09 \cdot 25^{1/2} \, \, = \, \, -4&#10;$$&#10;That is, $25$ months from now, the demand for blenders will be changing at the rate&#10;of $4$ units per month and will be decreasing since $\frac{\textrm{d} D}{\textrm{d} t}$ is negative.&#10;}}&#10;\end{minipage}&#10;\end{document}"/>
  <p:tag name="IGUANATEXSIZE" val="20"/>
  <p:tag name="IGUANATEXCURSOR" val="57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8100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100000" t="-60000" r="100000" b="20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11</Words>
  <Application>Microsoft Office PowerPoint</Application>
  <PresentationFormat>Bildschirmpräsentation (16:9)</PresentationFormat>
  <Paragraphs>23</Paragraphs>
  <Slides>14</Slides>
  <Notes>0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14</vt:i4>
      </vt:variant>
    </vt:vector>
  </HeadingPairs>
  <TitlesOfParts>
    <vt:vector size="15" baseType="lpstr">
      <vt:lpstr>Larissa-Design</vt:lpstr>
      <vt:lpstr>Calculus I for MGMT – Applications of Differentiation The Chain Rule</vt:lpstr>
      <vt:lpstr>In order to differentiate composite functions …</vt:lpstr>
      <vt:lpstr>… we need to consider a two step procedure that takes care of the derivatives of the outer and the inner function</vt:lpstr>
      <vt:lpstr>The Chain Rule: the derivative of a composite function is the product of the derivatives of the outer and the inner function</vt:lpstr>
      <vt:lpstr>Example: Application of the Chain Rule</vt:lpstr>
      <vt:lpstr>Example: Application of the Chain Rule</vt:lpstr>
      <vt:lpstr>Example: Application of the Chain Rule for differentiating exponential functions</vt:lpstr>
      <vt:lpstr>Example: Finding a rate of change of cost</vt:lpstr>
      <vt:lpstr>Example: Finding a rate of change of cost</vt:lpstr>
      <vt:lpstr>The advantage of the chain rule is its easy application to several layers of outer and inner functions</vt:lpstr>
      <vt:lpstr>Example: Repeated application of the Chain Rule</vt:lpstr>
      <vt:lpstr>Example: Finding a rate of change of demand</vt:lpstr>
      <vt:lpstr>Example: Finding a rate of change of demand</vt:lpstr>
      <vt:lpstr>Calculus I for Management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Florian</dc:creator>
  <cp:lastModifiedBy>Florian Rupp</cp:lastModifiedBy>
  <cp:revision>210</cp:revision>
  <dcterms:created xsi:type="dcterms:W3CDTF">2020-04-04T18:50:50Z</dcterms:created>
  <dcterms:modified xsi:type="dcterms:W3CDTF">2022-10-04T20:35:06Z</dcterms:modified>
</cp:coreProperties>
</file>